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CE76_9E395D8D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70966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78238C5-93B9-CD29-0FB9-C3F1A4DA1D19}" name="Bejarano, Sonia {PEP}" initials="B{" userId="S::sonia.bejarano@pepsico.com::ddb620ea-8aff-4110-bc9c-43d6913577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CC66"/>
    <a:srgbClr val="FFFFFF"/>
    <a:srgbClr val="00C042"/>
    <a:srgbClr val="AFEBC4"/>
    <a:srgbClr val="50D4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ACD81A-62AB-8D1E-9394-0051B5D12E2F}" v="5" dt="2024-01-17T14:13:36.2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6161" autoAdjust="0"/>
    <p:restoredTop sz="94660"/>
  </p:normalViewPr>
  <p:slideViewPr>
    <p:cSldViewPr snapToGrid="0">
      <p:cViewPr varScale="1">
        <p:scale>
          <a:sx n="74" d="100"/>
          <a:sy n="74" d="100"/>
        </p:scale>
        <p:origin x="90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jarano, Sonia {PEP}" userId="S::sonia.bejarano@pepsico.com::ddb620ea-8aff-4110-bc9c-43d691357794" providerId="AD" clId="Web-{85ACD81A-62AB-8D1E-9394-0051B5D12E2F}"/>
    <pc:docChg chg="mod">
      <pc:chgData name="Bejarano, Sonia {PEP}" userId="S::sonia.bejarano@pepsico.com::ddb620ea-8aff-4110-bc9c-43d691357794" providerId="AD" clId="Web-{85ACD81A-62AB-8D1E-9394-0051B5D12E2F}" dt="2024-01-17T14:13:36.230" v="4"/>
      <pc:docMkLst>
        <pc:docMk/>
      </pc:docMkLst>
      <pc:sldChg chg="addCm modCm">
        <pc:chgData name="Bejarano, Sonia {PEP}" userId="S::sonia.bejarano@pepsico.com::ddb620ea-8aff-4110-bc9c-43d691357794" providerId="AD" clId="Web-{85ACD81A-62AB-8D1E-9394-0051B5D12E2F}" dt="2024-01-17T14:13:36.230" v="4"/>
        <pc:sldMkLst>
          <pc:docMk/>
          <pc:sldMk cId="2654559629" sldId="21474709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Bejarano, Sonia {PEP}" userId="S::sonia.bejarano@pepsico.com::ddb620ea-8aff-4110-bc9c-43d691357794" providerId="AD" clId="Web-{85ACD81A-62AB-8D1E-9394-0051B5D12E2F}" dt="2024-01-17T14:13:36.230" v="4"/>
              <pc2:cmMkLst xmlns:pc2="http://schemas.microsoft.com/office/powerpoint/2019/9/main/command">
                <pc:docMk/>
                <pc:sldMk cId="2654559629" sldId="2147470966"/>
                <pc2:cmMk id="{996331BD-5EBB-4312-B8E6-66C77F38071A}"/>
              </pc2:cmMkLst>
            </pc226:cmChg>
            <pc226:cmChg xmlns:pc226="http://schemas.microsoft.com/office/powerpoint/2022/06/main/command" chg="add">
              <pc226:chgData name="Bejarano, Sonia {PEP}" userId="S::sonia.bejarano@pepsico.com::ddb620ea-8aff-4110-bc9c-43d691357794" providerId="AD" clId="Web-{85ACD81A-62AB-8D1E-9394-0051B5D12E2F}" dt="2024-01-17T14:10:22.982" v="2"/>
              <pc2:cmMkLst xmlns:pc2="http://schemas.microsoft.com/office/powerpoint/2019/9/main/command">
                <pc:docMk/>
                <pc:sldMk cId="2654559629" sldId="2147470966"/>
                <pc2:cmMk id="{4F3233E2-3215-4A4D-944F-B5CDAA2CB553}"/>
              </pc2:cmMkLst>
            </pc226:cmChg>
            <pc226:cmChg xmlns:pc226="http://schemas.microsoft.com/office/powerpoint/2022/06/main/command" chg="add">
              <pc226:chgData name="Bejarano, Sonia {PEP}" userId="S::sonia.bejarano@pepsico.com::ddb620ea-8aff-4110-bc9c-43d691357794" providerId="AD" clId="Web-{85ACD81A-62AB-8D1E-9394-0051B5D12E2F}" dt="2024-01-17T14:08:40.615" v="1"/>
              <pc2:cmMkLst xmlns:pc2="http://schemas.microsoft.com/office/powerpoint/2019/9/main/command">
                <pc:docMk/>
                <pc:sldMk cId="2654559629" sldId="2147470966"/>
                <pc2:cmMk id="{882833FF-3F27-4C6D-838A-F80C0654CAFA}"/>
              </pc2:cmMkLst>
            </pc226:cmChg>
          </p:ext>
        </pc:extLst>
      </pc:sldChg>
    </pc:docChg>
  </pc:docChgLst>
</pc:chgInfo>
</file>

<file path=ppt/comments/modernComment_7FFFCE76_9E395D8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82833FF-3F27-4C6D-838A-F80C0654CAFA}" authorId="{C78238C5-93B9-CD29-0FB9-C3F1A4DA1D19}" created="2024-01-17T14:08:40.61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54559629" sldId="2147470966"/>
      <ac:spMk id="3" creationId="{D32F5BA6-B60E-E594-9D8E-D546FA0B605C}"/>
      <ac:txMk cp="15" len="93">
        <ac:context len="226" hash="866385230"/>
      </ac:txMk>
    </ac:txMkLst>
    <p188:pos x="6482521" y="640521"/>
    <p188:txBody>
      <a:bodyPr/>
      <a:lstStyle/>
      <a:p>
        <a:r>
          <a:rPr lang="en-US"/>
          <a:t>[@Hut, Erik {PEP}] would propose this wording:
"ReCon ayuda a los centros de fabricación (incluidos las embotelladoras/franquicias y plantas de producción de Coman) </a:t>
        </a:r>
      </a:p>
    </p188:txBody>
  </p188:cm>
  <p188:cm id="{4F3233E2-3215-4A4D-944F-B5CDAA2CB553}" authorId="{C78238C5-93B9-CD29-0FB9-C3F1A4DA1D19}" created="2024-01-17T14:10:22.98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54559629" sldId="2147470966"/>
      <ac:spMk id="25" creationId="{755A790F-298D-F0DC-8EE4-F7630420A0EE}"/>
      <ac:txMk cp="0" len="256">
        <ac:context len="257" hash="1689257148"/>
      </ac:txMk>
    </ac:txMkLst>
    <p188:pos x="3379304" y="927652"/>
    <p188:txBody>
      <a:bodyPr/>
      <a:lstStyle/>
      <a:p>
        <a:r>
          <a:rPr lang="en-US"/>
          <a:t>[@Hut, Erik {PEP}]:
En particular, para los socios de Coman y FOBO con suficiente escala, pero que aún no están completamente consolidados, de modo que aún obtendrían el máximo beneficio del programa. EL programa está dirigido a gerentes de fabricación/operaciones de los establecimientos​</a:t>
        </a:r>
      </a:p>
    </p188:txBody>
  </p188:cm>
  <p188:cm id="{996331BD-5EBB-4312-B8E6-66C77F38071A}" authorId="{C78238C5-93B9-CD29-0FB9-C3F1A4DA1D19}" created="2024-01-17T14:12:38.36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654559629" sldId="2147470966"/>
      <ac:spMk id="1061" creationId="{FB3BEC68-48B1-1251-9A8E-CEE0F9A0FE54}"/>
      <ac:txMk cp="0" len="164">
        <ac:context len="166" hash="1088759669"/>
      </ac:txMk>
    </ac:txMkLst>
    <p188:pos x="3434521" y="695739"/>
    <p188:txBody>
      <a:bodyPr/>
      <a:lstStyle/>
      <a:p>
        <a:r>
          <a:rPr lang="en-US"/>
          <a:t>[@Hut, Erik {PEP}] I think cohorts should be updated by 2024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AB746-E317-40C3-92B9-5E7BCC6343FA}" type="datetimeFigureOut">
              <a:rPr lang="en-GB" smtClean="0"/>
              <a:t>17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940C34-3635-4A85-83C0-6A077A2AD1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12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60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2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F5E5F8-0EF9-E5EC-BE75-B2510A193E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12211504" cy="68552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85679-A3AB-2643-A1FE-1CC2B0278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29438" y="2000409"/>
            <a:ext cx="7533124" cy="2857182"/>
          </a:xfrm>
        </p:spPr>
        <p:txBody>
          <a:bodyPr>
            <a:normAutofit/>
          </a:bodyPr>
          <a:lstStyle>
            <a:lvl1pPr marL="0" indent="0" algn="ctr">
              <a:spcBef>
                <a:spcPct val="0"/>
              </a:spcBef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is ppt template is meant to be used for sustainability specific presentations. It should not be used as a default template for general business use, for example if only a portion of the presentation is sustainability related. It will mostly be used internally, however there are instances where it would be applicable for external such as a customer meeting that is focused on sustainability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159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ÁGINA </a:t>
            </a:r>
            <a:fld id="{745982C4-50CC-423F-BC1B-4BBFE66F3980}" type="slidenum"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6107977" cy="533223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6107977" cy="533223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E379AA1-F887-FE8A-28E7-C5C2EC5B3C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4496736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1266C21-5BF7-2A5A-876B-1AB3E25C0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ÁGINA </a:t>
            </a:r>
            <a:fld id="{2BA45CD9-825D-453E-9491-2F1AB8A15F2D}" type="slidenum"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BDD9D65-34C0-CFC2-D168-9DEAFA8A8C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43522642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1" name="Picture 20" descr="Graphical user interface&#10;&#10;Description automatically generated">
            <a:extLst>
              <a:ext uri="{FF2B5EF4-FFF2-40B4-BE49-F238E27FC236}">
                <a16:creationId xmlns:a16="http://schemas.microsoft.com/office/drawing/2014/main" id="{0731DAAD-BA87-20ED-300E-316AA7AB11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78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ÁGINA </a:t>
            </a:r>
            <a:fld id="{2E27B5C0-116D-48D6-8993-F48D9D2920B9}" type="slidenum"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CEA8AF8-B614-0A9D-C67A-55735326A2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186493780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E6188F-CFD4-194E-BF9F-538039B470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0" y="1"/>
            <a:ext cx="12189529" cy="685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ÁGINA </a:t>
            </a:r>
            <a:fld id="{126D91D9-162B-4E96-A97B-73FC8A743B8F}" type="slidenum"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28501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28501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8059F694-5CA6-002A-6D04-BB52DF0DCB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6723887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C97FFF4-323F-FE21-4BAB-6CF4DCD32EF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761017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195400885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160168032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834548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359780-2114-B954-85C0-0E7AE0FB75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89885183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313288521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139E082-ED19-EE87-24B3-FAAD8B0F370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326553754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</a:defRPr>
            </a:lvl1pPr>
            <a:lvl2pPr>
              <a:defRPr sz="2800">
                <a:solidFill>
                  <a:srgbClr val="133CCF"/>
                </a:solidFill>
              </a:defRPr>
            </a:lvl2pPr>
            <a:lvl3pPr>
              <a:defRPr sz="2800">
                <a:solidFill>
                  <a:srgbClr val="133CCF"/>
                </a:solidFill>
              </a:defRPr>
            </a:lvl3pPr>
            <a:lvl4pPr>
              <a:defRPr sz="2800">
                <a:solidFill>
                  <a:srgbClr val="133CCF"/>
                </a:solidFill>
              </a:defRPr>
            </a:lvl4pPr>
            <a:lvl5pPr>
              <a:defRPr sz="28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72446481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defRPr sz="28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defRPr sz="28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28252922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D90E648-1748-89AA-A73B-36CFFFF9A7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26979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>
            <a:fillRect/>
          </a:stretch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C2A1283A-6C47-1ED3-0248-D7AE621510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5839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A2EAAB6-6AAC-E655-2BE4-D3F181F9D4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10872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>
            <a:fillRect/>
          </a:stretch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B313A18-5181-B996-E36C-132A8A978F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98074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82226222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72596" y="6517231"/>
            <a:ext cx="273589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900" b="0" i="0" kern="1200" dirty="0">
                <a:solidFill>
                  <a:srgbClr val="30CC66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17072346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ÁGINA </a:t>
            </a:r>
            <a:fld id="{40AA6FCA-C509-45F2-962B-980F2358C1A4}" type="slidenum">
              <a:rPr lang="x-none" sz="700" b="0" i="0" strike="noStrike" cap="none" spc="30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1CFF483-1DEE-F160-A2A3-0BC15E1752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C4F4938-01BE-494A-94A6-B5CC305F0F21}"/>
              </a:ext>
            </a:extLst>
          </p:cNvPr>
          <p:cNvSpPr txBox="1"/>
          <p:nvPr userDrawn="1"/>
        </p:nvSpPr>
        <p:spPr>
          <a:xfrm>
            <a:off x="1257438" y="6532909"/>
            <a:ext cx="1916335" cy="200055"/>
          </a:xfrm>
          <a:prstGeom prst="rect">
            <a:avLst/>
          </a:prstGeom>
          <a:solidFill>
            <a:srgbClr val="0052DB"/>
          </a:solidFill>
        </p:spPr>
        <p:txBody>
          <a:bodyPr wrap="square" lIns="9144" rIns="9144" rtlCol="0">
            <a:spAutoFit/>
          </a:bodyPr>
          <a:lstStyle/>
          <a:p>
            <a:r>
              <a:rPr lang="es-CO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nfidencial</a:t>
            </a:r>
            <a:r>
              <a:rPr lang="en-US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y </a:t>
            </a:r>
            <a:r>
              <a:rPr lang="x-none" sz="700" b="0" i="0" kern="1200" dirty="0">
                <a:solidFill>
                  <a:srgbClr val="5FBBAA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e propiedad exclusiva</a:t>
            </a:r>
          </a:p>
        </p:txBody>
      </p:sp>
    </p:spTree>
    <p:extLst>
      <p:ext uri="{BB962C8B-B14F-4D97-AF65-F5344CB8AC3E}">
        <p14:creationId xmlns:p14="http://schemas.microsoft.com/office/powerpoint/2010/main" val="221101996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89661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43" imgH="443" progId="TCLayout.ActiveDocument.1">
                  <p:embed/>
                </p:oleObj>
              </mc:Choice>
              <mc:Fallback>
                <p:oleObj name="think-cell Slide" r:id="rId24" imgW="443" imgH="443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FD0BA-3AA9-459F-A2B0-5B0986A4C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159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CE76_9E395D8D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hyperlink" Target="mailto:anna.witherspoon@pepsico.com" TargetMode="Externa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D3A8F-7B27-56FC-644E-BC5FA583C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x-none" sz="2800" b="0" i="0" strike="noStrike" cap="none" spc="-2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rograma ReC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42F4A78-D8A5-0E52-0FD3-608C9721E12F}"/>
              </a:ext>
            </a:extLst>
          </p:cNvPr>
          <p:cNvGrpSpPr/>
          <p:nvPr/>
        </p:nvGrpSpPr>
        <p:grpSpPr>
          <a:xfrm>
            <a:off x="594504" y="1876212"/>
            <a:ext cx="5158205" cy="1094945"/>
            <a:chOff x="608881" y="2032525"/>
            <a:chExt cx="5158205" cy="109494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55A790F-298D-F0DC-8EE4-F7630420A0EE}"/>
                </a:ext>
              </a:extLst>
            </p:cNvPr>
            <p:cNvSpPr txBox="1"/>
            <p:nvPr/>
          </p:nvSpPr>
          <p:spPr>
            <a:xfrm>
              <a:off x="608881" y="2324100"/>
              <a:ext cx="5158205" cy="803370"/>
            </a:xfrm>
            <a:prstGeom prst="rect">
              <a:avLst/>
            </a:prstGeom>
            <a:noFill/>
          </p:spPr>
          <p:txBody>
            <a:bodyPr wrap="square" lIns="91440" tIns="91440" rIns="91440" bIns="9144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300" b="0" i="0" strike="noStrike" cap="none" spc="-1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En particular, para los socios de Coman y FOBO con suficiente escala, pero que aún no están completamente consolidados, de modo que aún obtienen el máximo beneficio del programa. Programa dirigido a gerentes de fabricación/operaciones en el establecimiento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2A0103-E03D-00FF-67D0-07267FA564F5}"/>
                </a:ext>
              </a:extLst>
            </p:cNvPr>
            <p:cNvSpPr/>
            <p:nvPr/>
          </p:nvSpPr>
          <p:spPr>
            <a:xfrm>
              <a:off x="608884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DB23E3E-52CD-4F3B-5859-21D59D6A07BA}"/>
                </a:ext>
              </a:extLst>
            </p:cNvPr>
            <p:cNvSpPr txBox="1"/>
            <p:nvPr/>
          </p:nvSpPr>
          <p:spPr>
            <a:xfrm>
              <a:off x="723902" y="2032525"/>
              <a:ext cx="1954904" cy="363592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400" b="1" i="0" strike="noStrike" cap="none" spc="200" baseline="0">
                  <a:solidFill>
                    <a:srgbClr val="FFFFFF"/>
                  </a:solidFill>
                  <a:effectLst/>
                  <a:latin typeface="Calibri"/>
                  <a:ea typeface="Calibri"/>
                  <a:cs typeface="Calibri"/>
                </a:rPr>
                <a:t>¿PARA QUIÉN ES?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1B508F4-5CAD-77CB-B7EC-C6763223BC78}"/>
              </a:ext>
            </a:extLst>
          </p:cNvPr>
          <p:cNvGrpSpPr/>
          <p:nvPr/>
        </p:nvGrpSpPr>
        <p:grpSpPr>
          <a:xfrm>
            <a:off x="590155" y="3048431"/>
            <a:ext cx="5061213" cy="1473003"/>
            <a:chOff x="723901" y="2032525"/>
            <a:chExt cx="5061213" cy="1473003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AF42126-71AA-2389-069B-8B862973D359}"/>
                </a:ext>
              </a:extLst>
            </p:cNvPr>
            <p:cNvSpPr txBox="1"/>
            <p:nvPr/>
          </p:nvSpPr>
          <p:spPr>
            <a:xfrm>
              <a:off x="723901" y="2335432"/>
              <a:ext cx="5061213" cy="1170096"/>
            </a:xfrm>
            <a:prstGeom prst="rect">
              <a:avLst/>
            </a:prstGeom>
            <a:noFill/>
          </p:spPr>
          <p:txBody>
            <a:bodyPr wrap="square" lIns="91440" tIns="91440" rIns="91440" bIns="91440" anchor="t">
              <a:noAutofit/>
            </a:bodyPr>
            <a:lstStyle/>
            <a:p>
              <a:pPr>
                <a:defRPr/>
              </a:pPr>
              <a:r>
                <a:rPr lang="x-none" sz="1300" b="0" i="0" strike="noStrike" cap="none" spc="-1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Un programa que proporciona un conjunto de sistemas, herramientas y mejores prácticas para maximizar nuestra eficiencia operativa en el uso de agua y energía y minimizar los desechos</a:t>
              </a:r>
            </a:p>
            <a:p>
              <a:pPr>
                <a:defRPr/>
              </a:pPr>
              <a:r>
                <a:rPr lang="x-none" sz="1300" b="0" i="0" strike="noStrike" cap="none" spc="-1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Contenido ofrecido en inglés y disponible en chino, ruso, español y portugués</a:t>
              </a:r>
              <a:endParaRPr lang="en-US" sz="13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Calibri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2F93960-E948-E844-F1BB-E90CBD8BA0E0}"/>
                </a:ext>
              </a:extLst>
            </p:cNvPr>
            <p:cNvSpPr/>
            <p:nvPr/>
          </p:nvSpPr>
          <p:spPr>
            <a:xfrm>
              <a:off x="723903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4626ED4-8C72-9527-B14E-C500E0FE0145}"/>
                </a:ext>
              </a:extLst>
            </p:cNvPr>
            <p:cNvSpPr txBox="1"/>
            <p:nvPr/>
          </p:nvSpPr>
          <p:spPr>
            <a:xfrm>
              <a:off x="867675" y="2032525"/>
              <a:ext cx="4158084" cy="334838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400" b="1" i="0" strike="noStrike" cap="none" spc="200" baseline="0">
                  <a:solidFill>
                    <a:srgbClr val="FFFFFF"/>
                  </a:solidFill>
                  <a:effectLst/>
                  <a:latin typeface="Calibri"/>
                  <a:ea typeface="Calibri"/>
                  <a:cs typeface="Calibri"/>
                </a:rPr>
                <a:t>¿QUÉ SE OFRECE?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D714E7A-B476-70C2-6274-EA38D14B210D}"/>
              </a:ext>
            </a:extLst>
          </p:cNvPr>
          <p:cNvGrpSpPr/>
          <p:nvPr/>
        </p:nvGrpSpPr>
        <p:grpSpPr>
          <a:xfrm>
            <a:off x="666391" y="4621173"/>
            <a:ext cx="5008158" cy="1923108"/>
            <a:chOff x="6171482" y="2053574"/>
            <a:chExt cx="5008158" cy="140772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647DD53-1123-F33D-F070-A0F6FC1C0E7D}"/>
                </a:ext>
              </a:extLst>
            </p:cNvPr>
            <p:cNvSpPr txBox="1"/>
            <p:nvPr/>
          </p:nvSpPr>
          <p:spPr>
            <a:xfrm>
              <a:off x="6171482" y="2394744"/>
              <a:ext cx="5008158" cy="106655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wrap="square" lIns="91440" tIns="91440" rIns="91440" bIns="45720" anchor="t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60CF5B1-C18F-15E0-65EC-7E1E0A2208ED}"/>
                </a:ext>
              </a:extLst>
            </p:cNvPr>
            <p:cNvSpPr txBox="1"/>
            <p:nvPr/>
          </p:nvSpPr>
          <p:spPr>
            <a:xfrm>
              <a:off x="6171482" y="2053574"/>
              <a:ext cx="5008158" cy="36359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400" b="1" i="0" strike="noStrike" cap="none" spc="200" baseline="0">
                  <a:solidFill>
                    <a:srgbClr val="FFFFFF"/>
                  </a:solidFill>
                  <a:effectLst/>
                  <a:latin typeface="Calibri"/>
                  <a:ea typeface="Calibri"/>
                  <a:cs typeface="Calibri"/>
                </a:rPr>
                <a:t>¿EN QUÉ SE BENEFICIAN LOS PROVEEDORES?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9" name="Picture 3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949D7A-80B2-D329-5D2D-7B3CDCECE3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7730" y="1042087"/>
            <a:ext cx="3061514" cy="54126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A029A2A7-B815-A862-442E-752E8A6C79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2051" y="5325337"/>
            <a:ext cx="2105777" cy="1217261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F64BAC4-97DF-E7AF-1B03-DC59B5F025F9}"/>
              </a:ext>
            </a:extLst>
          </p:cNvPr>
          <p:cNvSpPr txBox="1"/>
          <p:nvPr/>
        </p:nvSpPr>
        <p:spPr>
          <a:xfrm>
            <a:off x="662043" y="5161922"/>
            <a:ext cx="3104528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x-none" sz="13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ograma gratuito para usted. PepsiCo cubre el costo (tarifa por registrado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x-none" sz="13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consolidación de ReCon de primer nivel se correlaciona con los ahorros en la productividad y conduce a un rendimiento de primer nivel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18610AF-0005-750A-3AE0-4D7BD946E250}"/>
              </a:ext>
            </a:extLst>
          </p:cNvPr>
          <p:cNvSpPr/>
          <p:nvPr/>
        </p:nvSpPr>
        <p:spPr>
          <a:xfrm>
            <a:off x="6426404" y="3522431"/>
            <a:ext cx="5374096" cy="3492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8FC292E-AB2D-1395-DBE2-BB771ED33FA4}"/>
              </a:ext>
            </a:extLst>
          </p:cNvPr>
          <p:cNvSpPr txBox="1"/>
          <p:nvPr/>
        </p:nvSpPr>
        <p:spPr>
          <a:xfrm>
            <a:off x="6520655" y="3526627"/>
            <a:ext cx="2362066" cy="335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x-none" sz="1600" b="1" i="0" strike="noStrike" cap="none" spc="200" baseline="0" dirty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RÓXIMOS PASO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1CD12F1-00CE-8C53-358C-9DB6B41DA803}"/>
              </a:ext>
            </a:extLst>
          </p:cNvPr>
          <p:cNvGrpSpPr/>
          <p:nvPr/>
        </p:nvGrpSpPr>
        <p:grpSpPr>
          <a:xfrm>
            <a:off x="7127879" y="4051050"/>
            <a:ext cx="4461676" cy="1941563"/>
            <a:chOff x="7105974" y="3120366"/>
            <a:chExt cx="4311492" cy="1941563"/>
          </a:xfrm>
        </p:grpSpPr>
        <p:sp>
          <p:nvSpPr>
            <p:cNvPr id="1026" name="TextBox 1025">
              <a:extLst>
                <a:ext uri="{FF2B5EF4-FFF2-40B4-BE49-F238E27FC236}">
                  <a16:creationId xmlns:a16="http://schemas.microsoft.com/office/drawing/2014/main" id="{C3AD25CB-E963-27E6-62FE-1A5F71E39C39}"/>
                </a:ext>
              </a:extLst>
            </p:cNvPr>
            <p:cNvSpPr txBox="1"/>
            <p:nvPr/>
          </p:nvSpPr>
          <p:spPr>
            <a:xfrm>
              <a:off x="7107675" y="3120366"/>
              <a:ext cx="4155605" cy="5105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Capacitación en diferentes momentos del año. 3 módulos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1. </a:t>
              </a:r>
              <a:r>
                <a:rPr lang="x-none" sz="1300" b="1" i="0" strike="noStrike" cap="none" spc="0" baseline="0" dirty="0">
                  <a:solidFill>
                    <a:srgbClr val="0065E5"/>
                  </a:solidFill>
                  <a:effectLst/>
                  <a:latin typeface="Avenir Next LT Pro"/>
                  <a:ea typeface="Avenir Next LT Pro"/>
                  <a:cs typeface="Avenir Next LT Pro"/>
                </a:rPr>
                <a:t>Aspectos básicos del programa ReCon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2.</a:t>
              </a:r>
              <a:r>
                <a:rPr lang="x-none" sz="1300" b="1" i="0" strike="noStrike" cap="none" spc="0" baseline="0" dirty="0">
                  <a:solidFill>
                    <a:srgbClr val="002060"/>
                  </a:solidFill>
                  <a:effectLst/>
                  <a:latin typeface="Avenir Next LT Pro"/>
                  <a:ea typeface="Avenir Next LT Pro"/>
                  <a:cs typeface="Avenir Next LT Pro"/>
                </a:rPr>
                <a:t> ReCon y aire comprimido</a:t>
              </a: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3.</a:t>
              </a:r>
              <a:r>
                <a:rPr lang="x-none" sz="1300" b="1" i="0" strike="noStrike" cap="none" spc="0" baseline="0" dirty="0">
                  <a:solidFill>
                    <a:srgbClr val="0065E5"/>
                  </a:solidFill>
                  <a:effectLst/>
                  <a:latin typeface="Avenir Next LT Pro"/>
                  <a:ea typeface="Avenir Next LT Pro"/>
                  <a:cs typeface="Avenir Next LT Pro"/>
                </a:rPr>
                <a:t> Vapor ReCon</a:t>
              </a:r>
            </a:p>
          </p:txBody>
        </p:sp>
        <p:sp>
          <p:nvSpPr>
            <p:cNvPr id="1060" name="TextBox 1059">
              <a:extLst>
                <a:ext uri="{FF2B5EF4-FFF2-40B4-BE49-F238E27FC236}">
                  <a16:creationId xmlns:a16="http://schemas.microsoft.com/office/drawing/2014/main" id="{452E5669-480E-5EE0-2603-ECC36B54E97D}"/>
                </a:ext>
              </a:extLst>
            </p:cNvPr>
            <p:cNvSpPr txBox="1"/>
            <p:nvPr/>
          </p:nvSpPr>
          <p:spPr>
            <a:xfrm>
              <a:off x="7105974" y="4569486"/>
              <a:ext cx="4295516" cy="49244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El programa básico es un programa de 2 semanas, en promedio 30 minutos al día</a:t>
              </a:r>
            </a:p>
          </p:txBody>
        </p:sp>
        <p:sp>
          <p:nvSpPr>
            <p:cNvPr id="1061" name="TextBox 1060">
              <a:extLst>
                <a:ext uri="{FF2B5EF4-FFF2-40B4-BE49-F238E27FC236}">
                  <a16:creationId xmlns:a16="http://schemas.microsoft.com/office/drawing/2014/main" id="{FB3BEC68-48B1-1251-9A8E-CEE0F9A0FE54}"/>
                </a:ext>
              </a:extLst>
            </p:cNvPr>
            <p:cNvSpPr txBox="1"/>
            <p:nvPr/>
          </p:nvSpPr>
          <p:spPr>
            <a:xfrm>
              <a:off x="7105975" y="3862392"/>
              <a:ext cx="4311491" cy="69249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x-none" sz="13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El registro siempre está disponible. Los socios pasan por el programa en cohortes. Septiembre de 2023 y noviembre de 2023 son las fechas del próximo programa básico </a:t>
              </a:r>
            </a:p>
          </p:txBody>
        </p:sp>
      </p:grpSp>
      <p:grpSp>
        <p:nvGrpSpPr>
          <p:cNvPr id="1062" name="Group 1061">
            <a:extLst>
              <a:ext uri="{FF2B5EF4-FFF2-40B4-BE49-F238E27FC236}">
                <a16:creationId xmlns:a16="http://schemas.microsoft.com/office/drawing/2014/main" id="{79613FE5-A710-BC41-91EF-5ED1B68EA496}"/>
              </a:ext>
            </a:extLst>
          </p:cNvPr>
          <p:cNvGrpSpPr/>
          <p:nvPr/>
        </p:nvGrpSpPr>
        <p:grpSpPr>
          <a:xfrm>
            <a:off x="6434388" y="5896201"/>
            <a:ext cx="5366112" cy="808624"/>
            <a:chOff x="7725689" y="5193457"/>
            <a:chExt cx="5366112" cy="672533"/>
          </a:xfrm>
        </p:grpSpPr>
        <p:sp>
          <p:nvSpPr>
            <p:cNvPr id="1064" name="Rounded Rectangle 34">
              <a:extLst>
                <a:ext uri="{FF2B5EF4-FFF2-40B4-BE49-F238E27FC236}">
                  <a16:creationId xmlns:a16="http://schemas.microsoft.com/office/drawing/2014/main" id="{36309995-306C-41FB-0E8D-89CD134E3ABB}"/>
                </a:ext>
              </a:extLst>
            </p:cNvPr>
            <p:cNvSpPr/>
            <p:nvPr/>
          </p:nvSpPr>
          <p:spPr>
            <a:xfrm>
              <a:off x="7725689" y="5261356"/>
              <a:ext cx="5326290" cy="534138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6" name="TextBox 1065">
              <a:extLst>
                <a:ext uri="{FF2B5EF4-FFF2-40B4-BE49-F238E27FC236}">
                  <a16:creationId xmlns:a16="http://schemas.microsoft.com/office/drawing/2014/main" id="{FB324A6F-386B-FE5D-16D3-C6DABE13F653}"/>
                </a:ext>
              </a:extLst>
            </p:cNvPr>
            <p:cNvSpPr txBox="1"/>
            <p:nvPr/>
          </p:nvSpPr>
          <p:spPr>
            <a:xfrm>
              <a:off x="7725689" y="5193457"/>
              <a:ext cx="5366112" cy="672533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x-none" sz="1600" b="0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¡Invite a sus proveedores a registrarse hoy mismo!</a:t>
              </a:r>
              <a:br>
                <a:rPr sz="1600" dirty="0"/>
              </a:br>
              <a:r>
                <a:rPr lang="x-none" sz="1600" b="1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Envíe un correo electrónico a </a:t>
              </a:r>
              <a:r>
                <a:rPr lang="x-none" sz="1600" b="1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  <a:hlinkClick r:id="rId6" history="0"/>
                </a:rPr>
                <a:t>anna.witherspoon@pepsico.com</a:t>
              </a:r>
              <a:r>
                <a:rPr lang="x-none" sz="1600" b="1" i="0" strike="noStrike" cap="none" spc="0" baseline="0" dirty="0">
                  <a:solidFill>
                    <a:srgbClr val="000000"/>
                  </a:solidFill>
                  <a:effectLst/>
                  <a:latin typeface="Calibri"/>
                  <a:ea typeface="Calibri"/>
                  <a:cs typeface="Calibri"/>
                </a:rPr>
                <a:t> </a:t>
              </a:r>
            </a:p>
          </p:txBody>
        </p:sp>
      </p:grp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84855415-AB9B-7524-F161-1E645BC5AD7A}"/>
              </a:ext>
            </a:extLst>
          </p:cNvPr>
          <p:cNvSpPr/>
          <p:nvPr/>
        </p:nvSpPr>
        <p:spPr>
          <a:xfrm>
            <a:off x="6422324" y="3534336"/>
            <a:ext cx="5367111" cy="308572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9" name="Oval 1068">
            <a:extLst>
              <a:ext uri="{FF2B5EF4-FFF2-40B4-BE49-F238E27FC236}">
                <a16:creationId xmlns:a16="http://schemas.microsoft.com/office/drawing/2014/main" id="{3E2B5F26-9452-559A-FC68-C7AFB71C740E}"/>
              </a:ext>
            </a:extLst>
          </p:cNvPr>
          <p:cNvSpPr/>
          <p:nvPr/>
        </p:nvSpPr>
        <p:spPr>
          <a:xfrm>
            <a:off x="6568502" y="3962220"/>
            <a:ext cx="486952" cy="4869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x-none" sz="20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1</a:t>
            </a:r>
          </a:p>
        </p:txBody>
      </p:sp>
      <p:sp>
        <p:nvSpPr>
          <p:cNvPr id="1070" name="Oval 1069">
            <a:extLst>
              <a:ext uri="{FF2B5EF4-FFF2-40B4-BE49-F238E27FC236}">
                <a16:creationId xmlns:a16="http://schemas.microsoft.com/office/drawing/2014/main" id="{9C693EC2-A926-85D8-9C66-777D23926C77}"/>
              </a:ext>
            </a:extLst>
          </p:cNvPr>
          <p:cNvSpPr/>
          <p:nvPr/>
        </p:nvSpPr>
        <p:spPr>
          <a:xfrm>
            <a:off x="6568502" y="5481349"/>
            <a:ext cx="486952" cy="48695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x-none" sz="20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3</a:t>
            </a:r>
          </a:p>
        </p:txBody>
      </p:sp>
      <p:sp>
        <p:nvSpPr>
          <p:cNvPr id="1071" name="Oval 1070">
            <a:extLst>
              <a:ext uri="{FF2B5EF4-FFF2-40B4-BE49-F238E27FC236}">
                <a16:creationId xmlns:a16="http://schemas.microsoft.com/office/drawing/2014/main" id="{83AD3752-9D41-BE91-5E8C-5F6BF6D05FAA}"/>
              </a:ext>
            </a:extLst>
          </p:cNvPr>
          <p:cNvSpPr/>
          <p:nvPr/>
        </p:nvSpPr>
        <p:spPr>
          <a:xfrm>
            <a:off x="6568502" y="4776327"/>
            <a:ext cx="486952" cy="48695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x-none" sz="20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2F5BA6-B60E-E594-9D8E-D546FA0B605C}"/>
              </a:ext>
            </a:extLst>
          </p:cNvPr>
          <p:cNvSpPr txBox="1"/>
          <p:nvPr/>
        </p:nvSpPr>
        <p:spPr>
          <a:xfrm>
            <a:off x="608881" y="1000791"/>
            <a:ext cx="7929812" cy="87716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x-none" sz="1800" b="1" i="0" strike="noStrike" cap="none" spc="200" baseline="0" dirty="0">
                <a:solidFill>
                  <a:srgbClr val="143DCD"/>
                </a:solidFill>
                <a:effectLst/>
                <a:latin typeface="Calibri"/>
                <a:ea typeface="Calibri"/>
                <a:cs typeface="Calibri"/>
              </a:rPr>
              <a:t>¿QUÉ ES ReCon?</a:t>
            </a:r>
            <a:endParaRPr kumimoji="0" lang="en-GB" sz="1800" b="1" i="0" u="none" strike="noStrike" kern="1200" cap="none" spc="200" normalizeH="0" baseline="0" noProof="0" dirty="0">
              <a:ln>
                <a:noFill/>
              </a:ln>
              <a:solidFill>
                <a:srgbClr val="143DC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x-none" sz="13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Con ayuda a los centros de fabricación (incluidos los embotelladoras de Coman/franquicias) a cumplir con los objetivos climáticos y de agua de pep+ y, al mismo tiempo, generar productividad para el negocio. </a:t>
            </a:r>
            <a:r>
              <a:rPr lang="x-none" sz="14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 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A8112E6-2894-CA6D-9358-5B19608D4545}"/>
              </a:ext>
            </a:extLst>
          </p:cNvPr>
          <p:cNvGrpSpPr/>
          <p:nvPr/>
        </p:nvGrpSpPr>
        <p:grpSpPr>
          <a:xfrm>
            <a:off x="6403136" y="1824443"/>
            <a:ext cx="5348621" cy="1516689"/>
            <a:chOff x="6070723" y="2082761"/>
            <a:chExt cx="5056428" cy="71982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B7ECC7E-1BDF-8D97-886B-67EA6528A70A}"/>
                </a:ext>
              </a:extLst>
            </p:cNvPr>
            <p:cNvSpPr txBox="1"/>
            <p:nvPr/>
          </p:nvSpPr>
          <p:spPr>
            <a:xfrm>
              <a:off x="6083318" y="2198134"/>
              <a:ext cx="5042378" cy="60445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txBody>
            <a:bodyPr wrap="square" lIns="91440" tIns="91440" rIns="91440" bIns="45720" anchor="t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C3ED53-3F00-EFC9-E315-F071A7C7877B}"/>
                </a:ext>
              </a:extLst>
            </p:cNvPr>
            <p:cNvSpPr txBox="1"/>
            <p:nvPr/>
          </p:nvSpPr>
          <p:spPr>
            <a:xfrm>
              <a:off x="6070723" y="2082761"/>
              <a:ext cx="5056428" cy="133922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>
                <a:defRPr/>
              </a:pPr>
              <a:r>
                <a:rPr lang="x-none" sz="1400" b="1" i="0" strike="noStrike" cap="none" spc="200" baseline="0">
                  <a:solidFill>
                    <a:srgbClr val="FFFFFF"/>
                  </a:solidFill>
                  <a:effectLst/>
                  <a:latin typeface="Calibri"/>
                  <a:ea typeface="Calibri"/>
                  <a:cs typeface="Calibri"/>
                </a:rPr>
                <a:t>COMENTARIOS DE LOS PARTICIPANTES ACTUALES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7DAFD9D3-5E43-4652-1555-FDC3937BE6A4}"/>
              </a:ext>
            </a:extLst>
          </p:cNvPr>
          <p:cNvSpPr txBox="1"/>
          <p:nvPr/>
        </p:nvSpPr>
        <p:spPr>
          <a:xfrm>
            <a:off x="6474809" y="2156696"/>
            <a:ext cx="5292967" cy="10926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x-none" sz="13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Este curso es realmente fantástico y, al implementar las pautas, podemos obtener los resultados deseados”.</a:t>
            </a:r>
          </a:p>
          <a:p>
            <a:pPr>
              <a:defRPr/>
            </a:pPr>
            <a:endParaRPr lang="en-GB" sz="1300" dirty="0">
              <a:solidFill>
                <a:srgbClr val="000000"/>
              </a:solidFill>
              <a:latin typeface="Calibri" panose="020F0502020204030204"/>
            </a:endParaRPr>
          </a:p>
          <a:p>
            <a:pPr>
              <a:defRPr/>
            </a:pPr>
            <a:r>
              <a:rPr lang="x-none" sz="13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He adquirido conceptos y herramientas valiosos para mí y para la compañía donde trabajo”.</a:t>
            </a:r>
            <a:endParaRPr lang="en-GB" sz="1300" dirty="0">
              <a:solidFill>
                <a:srgbClr val="000000"/>
              </a:solidFill>
              <a:latin typeface="Calibri" panose="020F0502020204030204"/>
              <a:cs typeface="Calibri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50159F-9CC0-48B0-B3CF-CDB61A37966B}"/>
              </a:ext>
            </a:extLst>
          </p:cNvPr>
          <p:cNvSpPr txBox="1"/>
          <p:nvPr/>
        </p:nvSpPr>
        <p:spPr>
          <a:xfrm>
            <a:off x="4879134" y="5410016"/>
            <a:ext cx="782536" cy="502920"/>
          </a:xfrm>
          <a:prstGeom prst="rect">
            <a:avLst/>
          </a:prstGeom>
          <a:solidFill>
            <a:srgbClr val="E8F8D9"/>
          </a:solidFill>
        </p:spPr>
        <p:txBody>
          <a:bodyPr wrap="square" rtlCol="0">
            <a:spAutoFit/>
          </a:bodyPr>
          <a:lstStyle/>
          <a:p>
            <a:r>
              <a:rPr lang="x-none" sz="900" b="0" i="0" strike="noStrike" cap="none" spc="0" baseline="0" dirty="0">
                <a:solidFill>
                  <a:srgbClr val="0070C0"/>
                </a:solidFill>
                <a:effectLst/>
                <a:latin typeface="Arial"/>
                <a:ea typeface="Arial"/>
                <a:cs typeface="Arial"/>
              </a:rPr>
              <a:t>Consumo de energía y agua</a:t>
            </a:r>
            <a:endParaRPr lang="es-CO" sz="9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19AEE0D-1C4C-42A9-B16A-164BECD7BB99}"/>
              </a:ext>
            </a:extLst>
          </p:cNvPr>
          <p:cNvSpPr txBox="1"/>
          <p:nvPr/>
        </p:nvSpPr>
        <p:spPr>
          <a:xfrm>
            <a:off x="3490652" y="6287635"/>
            <a:ext cx="1357134" cy="230832"/>
          </a:xfrm>
          <a:prstGeom prst="rect">
            <a:avLst/>
          </a:prstGeom>
          <a:solidFill>
            <a:srgbClr val="E8F8D9"/>
          </a:solidFill>
        </p:spPr>
        <p:txBody>
          <a:bodyPr wrap="square" rtlCol="0">
            <a:spAutoFit/>
          </a:bodyPr>
          <a:lstStyle/>
          <a:p>
            <a:pPr algn="ctr"/>
            <a:r>
              <a:rPr lang="x-none" sz="900" b="0" i="0" strike="noStrike" cap="none" spc="0" baseline="0" dirty="0">
                <a:solidFill>
                  <a:srgbClr val="BC8C04"/>
                </a:solidFill>
                <a:effectLst/>
                <a:latin typeface="Arial"/>
                <a:ea typeface="Arial"/>
                <a:cs typeface="Arial"/>
              </a:rPr>
              <a:t>Nivel de consolidación</a:t>
            </a:r>
            <a:endParaRPr lang="es-CO" sz="900" dirty="0">
              <a:solidFill>
                <a:srgbClr val="BC8C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559629"/>
      </p:ext>
    </p:extLst>
  </p:cSld>
  <p:clrMapOvr>
    <a:masterClrMapping/>
  </p:clrMapOvr>
  <p:transition/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Microsoft Windows NT 10.0"/>
  <p:tag name="AS_RELEASE_DATE" val="2023.06.30"/>
  <p:tag name="AS_TITLE" val="Aspose.Slides for Java"/>
  <p:tag name="AS_VERSION" val="23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9EC91132ADFE45B0E66798401BC50E" ma:contentTypeVersion="18" ma:contentTypeDescription="Create a new document." ma:contentTypeScope="" ma:versionID="8aab511cf751b7328419504d36f89a92">
  <xsd:schema xmlns:xsd="http://www.w3.org/2001/XMLSchema" xmlns:xs="http://www.w3.org/2001/XMLSchema" xmlns:p="http://schemas.microsoft.com/office/2006/metadata/properties" xmlns:ns2="dd60b2ae-bad4-4d1b-b416-c73d3851a7cb" xmlns:ns3="daf91340-3ccc-4aa5-923f-791d06611507" targetNamespace="http://schemas.microsoft.com/office/2006/metadata/properties" ma:root="true" ma:fieldsID="4c8cc525c13100ca373ce855af188e64" ns2:_="" ns3:_="">
    <xsd:import namespace="dd60b2ae-bad4-4d1b-b416-c73d3851a7cb"/>
    <xsd:import namespace="daf91340-3ccc-4aa5-923f-791d066115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60b2ae-bad4-4d1b-b416-c73d3851a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f91340-3ccc-4aa5-923f-791d0661150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034750-c476-44d1-b8d1-a449c3d13a8a}" ma:internalName="TaxCatchAll" ma:showField="CatchAllData" ma:web="daf91340-3ccc-4aa5-923f-791d066115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60b2ae-bad4-4d1b-b416-c73d3851a7cb">
      <Terms xmlns="http://schemas.microsoft.com/office/infopath/2007/PartnerControls"/>
    </lcf76f155ced4ddcb4097134ff3c332f>
    <TaxCatchAll xmlns="daf91340-3ccc-4aa5-923f-791d06611507" xsi:nil="true"/>
    <SharedWithUsers xmlns="daf91340-3ccc-4aa5-923f-791d06611507">
      <UserInfo>
        <DisplayName>Witherspoon, Anna {PEP}</DisplayName>
        <AccountId>45</AccountId>
        <AccountType/>
      </UserInfo>
      <UserInfo>
        <DisplayName>Hut, Erik {PEP}</DisplayName>
        <AccountId>9</AccountId>
        <AccountType/>
      </UserInfo>
      <UserInfo>
        <DisplayName>Delmoitie, Johan {PEP}</DisplayName>
        <AccountId>33</AccountId>
        <AccountType/>
      </UserInfo>
      <UserInfo>
        <DisplayName>Pollard, Andrew {PEP}</DisplayName>
        <AccountId>120</AccountId>
        <AccountType/>
      </UserInfo>
      <UserInfo>
        <DisplayName>Wright, Claire {PEP}</DisplayName>
        <AccountId>121</AccountId>
        <AccountType/>
      </UserInfo>
      <UserInfo>
        <DisplayName>Grove, Kathleen-De {PEP}</DisplayName>
        <AccountId>27</AccountId>
        <AccountType/>
      </UserInfo>
      <UserInfo>
        <DisplayName>CruzCastillo, Luciana {PEP}</DisplayName>
        <AccountId>122</AccountId>
        <AccountType/>
      </UserInfo>
      <UserInfo>
        <DisplayName>GARCIA, DYLAN {PEP}</DisplayName>
        <AccountId>123</AccountId>
        <AccountType/>
      </UserInfo>
      <UserInfo>
        <DisplayName>Schwarzbach, Natasha {PEP}</DisplayName>
        <AccountId>1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D4D140-27F3-4162-A190-1A9FBAB89B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60b2ae-bad4-4d1b-b416-c73d3851a7cb"/>
    <ds:schemaRef ds:uri="daf91340-3ccc-4aa5-923f-791d066115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E810BD8-5EF2-43CE-9AD4-47EC5A532090}">
  <ds:schemaRefs>
    <ds:schemaRef ds:uri="09f724f0-0c9c-4c09-87c1-60751b11eb45"/>
    <ds:schemaRef ds:uri="1dae2c1c-4700-4f2c-8494-417ccadafe09"/>
    <ds:schemaRef ds:uri="http://schemas.microsoft.com/office/2006/metadata/properties"/>
    <ds:schemaRef ds:uri="http://schemas.microsoft.com/office/infopath/2007/PartnerControls"/>
    <ds:schemaRef ds:uri="dd60b2ae-bad4-4d1b-b416-c73d3851a7cb"/>
    <ds:schemaRef ds:uri="daf91340-3ccc-4aa5-923f-791d06611507"/>
  </ds:schemaRefs>
</ds:datastoreItem>
</file>

<file path=customXml/itemProps3.xml><?xml version="1.0" encoding="utf-8"?>
<ds:datastoreItem xmlns:ds="http://schemas.openxmlformats.org/officeDocument/2006/customXml" ds:itemID="{147C5517-EA59-47E5-BEE3-14BAA334C0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1</Words>
  <Application>Microsoft Office PowerPoint</Application>
  <PresentationFormat>Widescreen</PresentationFormat>
  <Paragraphs>29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Office Theme</vt:lpstr>
      <vt:lpstr>Programa ReC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t, Erik {PEP}</dc:creator>
  <cp:lastModifiedBy>dluque</cp:lastModifiedBy>
  <cp:revision>19</cp:revision>
  <dcterms:created xsi:type="dcterms:W3CDTF">2023-08-17T14:01:04Z</dcterms:created>
  <dcterms:modified xsi:type="dcterms:W3CDTF">2024-01-17T14:1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9EC91132ADFE45B0E66798401BC50E</vt:lpwstr>
  </property>
  <property fmtid="{D5CDD505-2E9C-101B-9397-08002B2CF9AE}" pid="3" name="MediaServiceImageTags">
    <vt:lpwstr/>
  </property>
</Properties>
</file>